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425" r:id="rId2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42" d="100"/>
          <a:sy n="142" d="100"/>
        </p:scale>
        <p:origin x="150" y="5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78CDF35-C0F9-4AF7-889F-F10C2E5C0C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60D18C78-3583-4622-9210-D7754525FD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95590E9-7AC0-401F-B86C-2579672761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47AA22F3-DBAC-4E51-A254-F17C5913CC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CB86A06-5A56-408F-8A25-8BC0E65E5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7445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96E78BF-26B9-44DA-9B01-650AD0257E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665ECD40-EB46-4C8F-98C6-8682A6E5AB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C9AF1B6-7D4A-43EF-9F24-8A9479312E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F3C9CEE-8F3D-49A6-853D-BE5A8C0259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9112898-1463-4D44-9400-E88D7CE283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57241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DC51D8FB-5A42-4EE8-B06A-8FBF35B7E5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09CB1C3C-EC87-45B8-971D-E41B742C6C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55488AFD-6826-43FA-99F9-FFB797577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F3ABB82-4807-4FE5-A46A-39C0CA8E6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4FCA511-78B5-4A1F-A829-6D81305DA8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08629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, n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35356CA-55AE-4A73-BCA3-861D99F536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3926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35356CA-55AE-4A73-BCA3-861D99F536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latshållare för text 7">
            <a:extLst>
              <a:ext uri="{FF2B5EF4-FFF2-40B4-BE49-F238E27FC236}">
                <a16:creationId xmlns:a16="http://schemas.microsoft.com/office/drawing/2014/main" id="{36968C17-1378-463A-9C00-CED01001C86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53" y="1033845"/>
            <a:ext cx="11522075" cy="463095"/>
          </a:xfrm>
        </p:spPr>
        <p:txBody>
          <a:bodyPr>
            <a:noAutofit/>
          </a:bodyPr>
          <a:lstStyle>
            <a:lvl1pPr marL="0" indent="0" algn="l" rtl="0">
              <a:buNone/>
              <a:defRPr sz="3200"/>
            </a:lvl1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23" name="Rubrik 1">
            <a:extLst>
              <a:ext uri="{FF2B5EF4-FFF2-40B4-BE49-F238E27FC236}">
                <a16:creationId xmlns:a16="http://schemas.microsoft.com/office/drawing/2014/main" id="{0A7F9B86-D9CA-404A-AC23-AC123EA9E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3" y="115888"/>
            <a:ext cx="11522075" cy="927482"/>
          </a:xfrm>
        </p:spPr>
        <p:txBody>
          <a:bodyPr vert="horz" lIns="0" tIns="0" rIns="0" bIns="0" rtlCol="0" anchor="b">
            <a:noAutofit/>
          </a:bodyPr>
          <a:lstStyle>
            <a:lvl1pPr rtl="0">
              <a:defRPr lang="en-US" noProof="0" dirty="0"/>
            </a:lvl1pPr>
          </a:lstStyle>
          <a:p>
            <a:pPr lvl="0"/>
            <a:r>
              <a:rPr lang="en-US" noProof="0" dirty="0"/>
              <a:t>Click To Add Title</a:t>
            </a:r>
          </a:p>
        </p:txBody>
      </p:sp>
      <p:sp>
        <p:nvSpPr>
          <p:cNvPr id="14" name="Platshållare för sidfot 4">
            <a:extLst>
              <a:ext uri="{FF2B5EF4-FFF2-40B4-BE49-F238E27FC236}">
                <a16:creationId xmlns:a16="http://schemas.microsoft.com/office/drawing/2014/main" id="{4B93E056-FC6F-46E1-AE63-1F1BA14110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10723" y="6373848"/>
            <a:ext cx="517757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7" name="Platshållare för bildnummer 5">
            <a:extLst>
              <a:ext uri="{FF2B5EF4-FFF2-40B4-BE49-F238E27FC236}">
                <a16:creationId xmlns:a16="http://schemas.microsoft.com/office/drawing/2014/main" id="{6D79F968-F070-4A9F-BFD9-B367929D55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3039" y="6373848"/>
            <a:ext cx="24765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EBAEE941-5805-4C7A-A1F8-CB0F612EE89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Platshållare för datum 3">
            <a:extLst>
              <a:ext uri="{FF2B5EF4-FFF2-40B4-BE49-F238E27FC236}">
                <a16:creationId xmlns:a16="http://schemas.microsoft.com/office/drawing/2014/main" id="{7EC002E0-18B9-48DB-BDBE-5435D17804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019615" y="6373848"/>
            <a:ext cx="1484487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13353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E883653-05B8-4E41-BD41-1CD86FC53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343132-DC63-4B39-87D1-E398CD40E2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2E90B9C-D67B-4F5E-B4FB-1A3E50604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5E08A49-689E-450E-943D-3A3F2A5F8F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5E95F481-511E-4D0A-A765-F1F9352A47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00982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53FFD21-7071-4991-98BF-FF7DFB3F8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BCE8427B-3F5F-4454-8E5E-18098782A7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ED8259C-3A94-487E-8598-1D83CBF88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23B855B-5A4B-4DBB-BD7F-1514B179A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A260CE9B-C87F-46CD-AF06-70984B3B91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224213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BB9B069-EC5D-4054-A78A-8EFD301620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540DB88-8FDF-458A-BF75-3781315F39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1C22AAB8-0C82-492A-8957-6F1E482BF7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9E239B1E-BC6B-44B8-BB6F-F619291CF1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C6FD9067-966A-4CEF-8568-1F6DDDD731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A77BE26A-0D6C-46C5-94D6-554EBCF82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144231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11EF503-C7A4-452E-AFC6-5629A4F73D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80AFD5FD-65CA-46BF-9BCE-6B50AF713C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D2006514-3C3A-4338-A32C-4DFFEB240F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CC9CCABB-5278-49FF-9861-3C752D08BD4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CF51FA67-945F-4493-83CA-B7C1DA65A50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F2532916-A01B-4133-8946-DFAC06966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CB916F81-9828-48E7-AA4F-310769FFF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2AD78F0F-9A46-4EE6-844B-F7DC644E85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637460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AB47212-07EE-4945-9777-8C8B5D48C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AA07A58E-4441-4E93-A541-6C5A8A949A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38AEBDA-9D76-4B25-9721-5E96DD9D63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A6A1068-91D1-45A4-807D-1146B9FE8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330820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AB9818F3-69EF-4D57-AA6B-FFE02D3177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B98A0879-19C0-4195-833F-7FF637299C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D1C7EFF4-B87B-4C2D-844F-99ABCC1AC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907793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72F2E6B-66E4-48F7-B13B-5B3081CB78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0DC9F54-7253-463A-BE61-F2FAFE24DD7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909CCD4C-6167-4C09-AC84-A9888BE393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20AAC1A2-F694-413A-9AA6-4B36BBED9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42CEF015-C08D-4631-AF9F-B12B9C54C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DB254383-229A-4C5A-8921-C92A51253D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385204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B828298-BED3-4F0E-BC16-3C8A313FC6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A156D29C-D2F0-4020-853B-274B57DD93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D1492FA8-A7A0-49B6-90FA-ADD39FE2A0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E887FBF6-DEDF-4DAD-A09C-7FA1653196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DF5DAA15-470B-42D6-B369-93C98DB3E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4D79138F-9007-4795-B346-DDCE473A12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720881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9A5CAD07-D1F8-40E2-AA40-2B17A64E0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77FED27-F922-47A1-B3EB-5DDEAACD9F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4389344A-0865-457B-852A-6BE59EB375D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F23A55-97D9-44F3-8E0E-90FB2D387EFA}" type="datetimeFigureOut">
              <a:rPr lang="sv-SE" smtClean="0"/>
              <a:t>2022-03-23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2D8941E8-584E-4C0E-ADD7-3C78FB402B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E048C12-EFE7-4707-8E91-2ECF39CCE6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60279B-8D0B-496C-8609-164905AA1216}" type="slidenum">
              <a:rPr lang="sv-SE" smtClean="0"/>
              <a:t>‹#›</a:t>
            </a:fld>
            <a:endParaRPr lang="sv-SE"/>
          </a:p>
        </p:txBody>
      </p:sp>
      <p:sp>
        <p:nvSpPr>
          <p:cNvPr id="7" name="MSIPCMContentMarking" descr="{&quot;HashCode&quot;:1011615521,&quot;Placement&quot;:&quot;Footer&quot;,&quot;Top&quot;:519.343,&quot;Left&quot;:880.697144,&quot;SlideWidth&quot;:960,&quot;SlideHeight&quot;:540}">
            <a:extLst>
              <a:ext uri="{FF2B5EF4-FFF2-40B4-BE49-F238E27FC236}">
                <a16:creationId xmlns:a16="http://schemas.microsoft.com/office/drawing/2014/main" id="{1F2E761A-ACA9-4861-8B67-F2B7CA4C043C}"/>
              </a:ext>
            </a:extLst>
          </p:cNvPr>
          <p:cNvSpPr txBox="1"/>
          <p:nvPr userDrawn="1"/>
        </p:nvSpPr>
        <p:spPr>
          <a:xfrm>
            <a:off x="11184854" y="6595656"/>
            <a:ext cx="1007146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sv-SE" sz="1000">
                <a:solidFill>
                  <a:srgbClr val="000000"/>
                </a:solidFill>
                <a:latin typeface="Calibri" panose="020F0502020204030204" pitchFamily="34" charset="0"/>
              </a:rPr>
              <a:t>Essity Internal</a:t>
            </a:r>
          </a:p>
        </p:txBody>
      </p:sp>
    </p:spTree>
    <p:extLst>
      <p:ext uri="{BB962C8B-B14F-4D97-AF65-F5344CB8AC3E}">
        <p14:creationId xmlns:p14="http://schemas.microsoft.com/office/powerpoint/2010/main" val="422981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22DE35-C32E-48A1-B864-81C4B30C19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20922" y="1043370"/>
            <a:ext cx="11522075" cy="463095"/>
          </a:xfrm>
        </p:spPr>
        <p:txBody>
          <a:bodyPr/>
          <a:lstStyle/>
          <a:p>
            <a:r>
              <a:rPr lang="sv-SE" sz="2400" dirty="0"/>
              <a:t>Engång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7B31F3C-E81A-42F2-B910-918E46B3D1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921" y="115888"/>
            <a:ext cx="11522075" cy="927482"/>
          </a:xfrm>
        </p:spPr>
        <p:txBody>
          <a:bodyPr/>
          <a:lstStyle/>
          <a:p>
            <a:r>
              <a:rPr lang="sv-SE" dirty="0"/>
              <a:t>Tensocold</a:t>
            </a:r>
            <a:r>
              <a:rPr lang="sv-SE" baseline="30000" dirty="0"/>
              <a:t>®</a:t>
            </a:r>
            <a:r>
              <a:rPr lang="sv-SE" dirty="0"/>
              <a:t> Pack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5CBF96D-1173-4A14-8A41-07D8766E368C}"/>
              </a:ext>
            </a:extLst>
          </p:cNvPr>
          <p:cNvSpPr txBox="1"/>
          <p:nvPr/>
        </p:nvSpPr>
        <p:spPr>
          <a:xfrm>
            <a:off x="420921" y="1655612"/>
            <a:ext cx="688646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tx2"/>
                </a:solidFill>
              </a:rPr>
              <a:t>Beskrivning:</a:t>
            </a:r>
          </a:p>
          <a:p>
            <a:r>
              <a:rPr lang="sv-SE" dirty="0">
                <a:solidFill>
                  <a:schemeClr val="tx2"/>
                </a:solidFill>
              </a:rPr>
              <a:t>Tensocold är en kylpåse, som ger lokal smärtlindring och effektiv kylterapi i upp till 30 minuter. Produkten innehåller karbamid och vatten förslutet i en inre påse som aktiveras genom att man slår och skakar påsen. </a:t>
            </a:r>
          </a:p>
          <a:p>
            <a:endParaRPr lang="sv-SE" dirty="0">
              <a:solidFill>
                <a:schemeClr val="tx2"/>
              </a:solidFill>
            </a:endParaRPr>
          </a:p>
          <a:p>
            <a:r>
              <a:rPr lang="sv-SE" dirty="0">
                <a:solidFill>
                  <a:schemeClr val="tx2"/>
                </a:solidFill>
              </a:rPr>
              <a:t>Avsedd användning: hematom/blåmärken, stukningar, värmeslag, feber och trauma</a:t>
            </a:r>
          </a:p>
          <a:p>
            <a:endParaRPr lang="sv-SE" dirty="0">
              <a:solidFill>
                <a:schemeClr val="tx2"/>
              </a:solidFill>
            </a:endParaRPr>
          </a:p>
          <a:p>
            <a:r>
              <a:rPr lang="sv-SE" dirty="0">
                <a:solidFill>
                  <a:schemeClr val="tx2"/>
                </a:solidFill>
              </a:rPr>
              <a:t>Material: 100% bomull med häftmassa av zinkoxid-kautschuk. Innehåller latex. Engångsprodukt.</a:t>
            </a:r>
          </a:p>
          <a:p>
            <a:endParaRPr lang="sv-SE" dirty="0">
              <a:solidFill>
                <a:schemeClr val="tx2"/>
              </a:solidFill>
            </a:endParaRPr>
          </a:p>
          <a:p>
            <a:endParaRPr lang="sv-SE" dirty="0">
              <a:solidFill>
                <a:schemeClr val="tx2"/>
              </a:solidFill>
            </a:endParaRPr>
          </a:p>
          <a:p>
            <a:endParaRPr lang="sv-SE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D074DA5-F29B-4D23-BBCD-47ACFFDE38AB}"/>
              </a:ext>
            </a:extLst>
          </p:cNvPr>
          <p:cNvSpPr/>
          <p:nvPr/>
        </p:nvSpPr>
        <p:spPr>
          <a:xfrm>
            <a:off x="11224727" y="6606073"/>
            <a:ext cx="867746" cy="2519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 err="1">
              <a:solidFill>
                <a:schemeClr val="tx2"/>
              </a:solidFill>
            </a:endParaRP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90503BB6-87D6-4D83-9298-42A97D73C5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308" y="5213"/>
            <a:ext cx="457461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4056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3</Words>
  <Application>Microsoft Office PowerPoint</Application>
  <PresentationFormat>Bredbild</PresentationFormat>
  <Paragraphs>9</Paragraphs>
  <Slides>1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-tema</vt:lpstr>
      <vt:lpstr>think-cell Slide</vt:lpstr>
      <vt:lpstr>Tensocold® Pack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nsocold® Pack</dc:title>
  <dc:creator>LINA</dc:creator>
  <cp:lastModifiedBy>LINA</cp:lastModifiedBy>
  <cp:revision>1</cp:revision>
  <dcterms:created xsi:type="dcterms:W3CDTF">2022-03-23T14:11:39Z</dcterms:created>
  <dcterms:modified xsi:type="dcterms:W3CDTF">2022-03-23T14:1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c8d6ef0-491d-4f17-aead-12ed260929f1_Enabled">
    <vt:lpwstr>true</vt:lpwstr>
  </property>
  <property fmtid="{D5CDD505-2E9C-101B-9397-08002B2CF9AE}" pid="3" name="MSIP_Label_4c8d6ef0-491d-4f17-aead-12ed260929f1_SetDate">
    <vt:lpwstr>2022-03-23T14:12:00Z</vt:lpwstr>
  </property>
  <property fmtid="{D5CDD505-2E9C-101B-9397-08002B2CF9AE}" pid="4" name="MSIP_Label_4c8d6ef0-491d-4f17-aead-12ed260929f1_Method">
    <vt:lpwstr>Standard</vt:lpwstr>
  </property>
  <property fmtid="{D5CDD505-2E9C-101B-9397-08002B2CF9AE}" pid="5" name="MSIP_Label_4c8d6ef0-491d-4f17-aead-12ed260929f1_Name">
    <vt:lpwstr>Internal</vt:lpwstr>
  </property>
  <property fmtid="{D5CDD505-2E9C-101B-9397-08002B2CF9AE}" pid="6" name="MSIP_Label_4c8d6ef0-491d-4f17-aead-12ed260929f1_SiteId">
    <vt:lpwstr>f101208c-39d3-4c8a-8cc7-ad896b25954f</vt:lpwstr>
  </property>
  <property fmtid="{D5CDD505-2E9C-101B-9397-08002B2CF9AE}" pid="7" name="MSIP_Label_4c8d6ef0-491d-4f17-aead-12ed260929f1_ActionId">
    <vt:lpwstr>81825091-fef8-41c9-baee-5826f953aa6d</vt:lpwstr>
  </property>
  <property fmtid="{D5CDD505-2E9C-101B-9397-08002B2CF9AE}" pid="8" name="MSIP_Label_4c8d6ef0-491d-4f17-aead-12ed260929f1_ContentBits">
    <vt:lpwstr>2</vt:lpwstr>
  </property>
</Properties>
</file>